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20"/>
  </p:notesMasterIdLst>
  <p:handoutMasterIdLst>
    <p:handoutMasterId r:id="rId21"/>
  </p:handoutMasterIdLst>
  <p:sldIdLst>
    <p:sldId id="356" r:id="rId7"/>
    <p:sldId id="378" r:id="rId8"/>
    <p:sldId id="379" r:id="rId9"/>
    <p:sldId id="380" r:id="rId10"/>
    <p:sldId id="381" r:id="rId11"/>
    <p:sldId id="382" r:id="rId12"/>
    <p:sldId id="376" r:id="rId13"/>
    <p:sldId id="375" r:id="rId14"/>
    <p:sldId id="374" r:id="rId15"/>
    <p:sldId id="370" r:id="rId16"/>
    <p:sldId id="372" r:id="rId17"/>
    <p:sldId id="373" r:id="rId18"/>
    <p:sldId id="279" r:id="rId19"/>
  </p:sldIdLst>
  <p:sldSz cx="9144000" cy="5143500" type="screen16x9"/>
  <p:notesSz cx="9925050" cy="6665913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3"/>
  </p:normalViewPr>
  <p:slideViewPr>
    <p:cSldViewPr snapToGrid="0">
      <p:cViewPr varScale="1">
        <p:scale>
          <a:sx n="140" d="100"/>
          <a:sy n="140" d="100"/>
        </p:scale>
        <p:origin x="840" y="184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794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758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473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3791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0439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427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</a:t>
            </a:r>
          </a:p>
        </p:txBody>
      </p:sp>
      <p:pic>
        <p:nvPicPr>
          <p:cNvPr id="18" name="Grafik 17" descr="Ein Bild, das Bildschirm, Computer enthält.&#10;&#10;Automatisch generierte Beschreibung">
            <a:extLst>
              <a:ext uri="{FF2B5EF4-FFF2-40B4-BE49-F238E27FC236}">
                <a16:creationId xmlns:a16="http://schemas.microsoft.com/office/drawing/2014/main" id="{21F62656-57E6-6D4A-B8F6-2B130F85A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" y="1795101"/>
            <a:ext cx="8412480" cy="155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625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033461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valuateRoun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undComplete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itializeDeck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xtTur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7935" y="2417861"/>
            <a:ext cx="8508999" cy="332976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sz="3500" dirty="0" err="1"/>
              <a:t>Documentation</a:t>
            </a:r>
            <a:r>
              <a:rPr lang="de-DE" sz="3500" dirty="0"/>
              <a:t> </a:t>
            </a:r>
            <a:r>
              <a:rPr lang="de-DE" sz="3500" dirty="0" err="1"/>
              <a:t>of</a:t>
            </a:r>
            <a:r>
              <a:rPr lang="de-DE" sz="3500" dirty="0"/>
              <a:t> design </a:t>
            </a:r>
            <a:r>
              <a:rPr lang="de-DE" sz="3500" dirty="0" err="1"/>
              <a:t>choices</a:t>
            </a:r>
            <a:endParaRPr lang="de-DE" sz="3500" dirty="0"/>
          </a:p>
        </p:txBody>
      </p:sp>
    </p:spTree>
    <p:extLst>
      <p:ext uri="{BB962C8B-B14F-4D97-AF65-F5344CB8AC3E}">
        <p14:creationId xmlns:p14="http://schemas.microsoft.com/office/powerpoint/2010/main" val="3371693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ards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2E4369A1-98D1-ED48-A09C-D8E9C25A6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" y="1483681"/>
            <a:ext cx="7955280" cy="2311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445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Table</a:t>
            </a:r>
          </a:p>
        </p:txBody>
      </p:sp>
      <p:pic>
        <p:nvPicPr>
          <p:cNvPr id="9" name="Grafik 8" descr="Ein Bild, das Essen, Zeichnung enthält.&#10;&#10;Automatisch generierte Beschreibung">
            <a:extLst>
              <a:ext uri="{FF2B5EF4-FFF2-40B4-BE49-F238E27FC236}">
                <a16:creationId xmlns:a16="http://schemas.microsoft.com/office/drawing/2014/main" id="{A4DB09E4-A961-254C-A9AB-E018B963E7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091" y="1982565"/>
            <a:ext cx="8567445" cy="117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4646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hip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3E410BE-085D-204E-B8C9-F5D4534C1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448" y="2046029"/>
            <a:ext cx="8825103" cy="105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728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7935" y="2417861"/>
            <a:ext cx="8508999" cy="332976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sz="3500" dirty="0" err="1"/>
              <a:t>Documentation</a:t>
            </a:r>
            <a:r>
              <a:rPr lang="de-DE" sz="3500" dirty="0"/>
              <a:t> </a:t>
            </a:r>
            <a:r>
              <a:rPr lang="de-DE" sz="3500" dirty="0" err="1"/>
              <a:t>of</a:t>
            </a:r>
            <a:r>
              <a:rPr lang="de-DE" sz="3500" dirty="0"/>
              <a:t> </a:t>
            </a:r>
            <a:r>
              <a:rPr lang="de-DE" sz="3500" dirty="0" err="1"/>
              <a:t>used</a:t>
            </a:r>
            <a:r>
              <a:rPr lang="de-DE" sz="3500" dirty="0"/>
              <a:t> </a:t>
            </a:r>
            <a:r>
              <a:rPr lang="de-DE" sz="3500" dirty="0" err="1"/>
              <a:t>technologies</a:t>
            </a:r>
            <a:endParaRPr lang="de-DE" sz="3500" dirty="0"/>
          </a:p>
        </p:txBody>
      </p:sp>
    </p:spTree>
    <p:extLst>
      <p:ext uri="{BB962C8B-B14F-4D97-AF65-F5344CB8AC3E}">
        <p14:creationId xmlns:p14="http://schemas.microsoft.com/office/powerpoint/2010/main" val="37381774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SVG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256CF38-DE25-D84F-9D6D-FD6F0C2376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1" y="1231162"/>
            <a:ext cx="7829538" cy="333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4325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 err="1"/>
              <a:t>DocBook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34106F0-6CC1-7E45-A429-47EA60503F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0" y="1870980"/>
            <a:ext cx="7829539" cy="140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180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163</Words>
  <Application>Microsoft Macintosh PowerPoint</Application>
  <PresentationFormat>Bildschirmpräsentation (16:9)</PresentationFormat>
  <Paragraphs>76</Paragraphs>
  <Slides>13</Slides>
  <Notes>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3</vt:i4>
      </vt:variant>
    </vt:vector>
  </HeadingPairs>
  <TitlesOfParts>
    <vt:vector size="24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Documentation of design choices</vt:lpstr>
      <vt:lpstr>Cards</vt:lpstr>
      <vt:lpstr>Table</vt:lpstr>
      <vt:lpstr>Chips</vt:lpstr>
      <vt:lpstr>Documentation of used technologies</vt:lpstr>
      <vt:lpstr>XML</vt:lpstr>
      <vt:lpstr>SVG</vt:lpstr>
      <vt:lpstr>DocBook</vt:lpstr>
      <vt:lpstr>XSLT</vt:lpstr>
      <vt:lpstr>Ausblick MVC-Architecture und XQuery</vt:lpstr>
      <vt:lpstr>Ausblick MVC-Architecture a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46</cp:revision>
  <cp:lastPrinted>2015-07-30T14:04:45Z</cp:lastPrinted>
  <dcterms:created xsi:type="dcterms:W3CDTF">2019-11-21T08:12:12Z</dcterms:created>
  <dcterms:modified xsi:type="dcterms:W3CDTF">2019-11-26T15:24:41Z</dcterms:modified>
</cp:coreProperties>
</file>